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8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59-45A3-867E-15C6EE7FB4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59-45A3-867E-15C6EE7FB4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59-45A3-867E-15C6EE7FB4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5E-41C7-A2FB-5880BAD543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5E-41C7-A2FB-5880BAD543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5E-41C7-A2FB-5880BAD54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E0974-B055-175B-FFA5-49BEAF72A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6125AA-2C93-275C-84C3-CA548B95B2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6125AA-2C93-275C-84C3-CA548B95B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340634F7-7CB6-6C34-479B-E61F6A51A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Stacked Column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A07AB58-5B90-B9F4-2E80-57A0526A9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7440A636-5469-D547-FBA0-D0AAD94141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8835E36-BB8D-F936-38EC-C4D52CD998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A1971884-76A4-2F5C-FB20-338059D128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822D0072-492B-E972-1B7A-448D6E13730F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Placeholder 12">
            <a:extLst>
              <a:ext uri="{FF2B5EF4-FFF2-40B4-BE49-F238E27FC236}">
                <a16:creationId xmlns:a16="http://schemas.microsoft.com/office/drawing/2014/main" id="{20061B32-2D6A-F228-57B2-9D21A1A949C2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61962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9</TotalTime>
  <Words>2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Stacked Column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1</cp:revision>
  <dcterms:created xsi:type="dcterms:W3CDTF">2025-07-09T10:57:17Z</dcterms:created>
  <dcterms:modified xsi:type="dcterms:W3CDTF">2025-10-22T10:04:42Z</dcterms:modified>
  <cp:category/>
</cp:coreProperties>
</file>